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314" r:id="rId2"/>
  </p:sldIdLst>
  <p:sldSz cx="9144000" cy="5143500" type="screen16x9"/>
  <p:notesSz cx="6858000" cy="9144000"/>
  <p:custDataLst>
    <p:tags r:id="rId5"/>
  </p:custDataLst>
  <p:defaultTextStyle>
    <a:defPPr marR="0" lvl="0" algn="l" rtl="0">
      <a:lnSpc>
        <a:spcPct val="100000"/>
      </a:lnSpc>
      <a:spcBef>
        <a:spcPct val="0"/>
      </a:spcBef>
      <a:spcAft>
        <a:spcPct val="0"/>
      </a:spcAft>
    </a:defPPr>
    <a:lvl1pPr marR="0" lvl="0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e Kaufmann" initials="NK" lastIdx="0" clrIdx="0">
    <p:extLst>
      <p:ext uri="{19B8F6BF-5375-455C-9EA6-DF929625EA0E}">
        <p15:presenceInfo xmlns:p15="http://schemas.microsoft.com/office/powerpoint/2012/main" userId="0cd8519a31e4d70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0097A7"/>
    <a:srgbClr val="009999"/>
    <a:srgbClr val="0055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29" autoAdjust="0"/>
    <p:restoredTop sz="93689" autoAdjust="0"/>
  </p:normalViewPr>
  <p:slideViewPr>
    <p:cSldViewPr snapToGrid="0">
      <p:cViewPr varScale="1">
        <p:scale>
          <a:sx n="131" d="100"/>
          <a:sy n="131" d="100"/>
        </p:scale>
        <p:origin x="752" y="16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691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E526802-38F1-4E6D-AD57-2A563A9EB65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18105E1-65AB-42F9-9746-DEFEA05350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B8982C-D5B5-447D-9910-AACB67C19FC6}" type="datetimeFigureOut">
              <a:rPr lang="de-CH" smtClean="0"/>
              <a:t>29.10.24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0740D1F-9858-46D7-BC71-76BA97321F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887488-E33C-4A54-B170-FBB8009936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B6E012-85BB-427F-BC88-DC7601B451D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87604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19999" h="119999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ct val="0"/>
              </a:spcBef>
              <a:spcAft>
                <a:spcPct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ct val="0"/>
              </a:spcBef>
              <a:spcAft>
                <a:spcPct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ct val="0"/>
              </a:spcBef>
              <a:spcAft>
                <a:spcPct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ct val="0"/>
              </a:spcBef>
              <a:spcAft>
                <a:spcPct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ct val="0"/>
              </a:spcBef>
              <a:spcAft>
                <a:spcPct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ct val="0"/>
              </a:spcBef>
              <a:spcAft>
                <a:spcPct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ct val="0"/>
              </a:spcBef>
              <a:spcAft>
                <a:spcPct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ct val="0"/>
              </a:spcBef>
              <a:spcAft>
                <a:spcPct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ct val="0"/>
              </a:spcBef>
              <a:spcAft>
                <a:spcPct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ct val="0"/>
      </a:spcBef>
      <a:spcAft>
        <a:spcPct val="0"/>
      </a:spcAft>
    </a:defPPr>
    <a:lvl1pPr marR="0" lvl="0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ct val="0"/>
      </a:spcBef>
      <a:spcAft>
        <a:spcPct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71336b171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71336b171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05100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>
                <a:latin typeface="Frutiger 45 Light" pitchFamily="34" charset="0"/>
              </a:defRPr>
            </a:lvl1pPr>
            <a:lvl2pPr lvl="1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2pPr>
            <a:lvl3pPr lvl="2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3pPr>
            <a:lvl4pPr lvl="3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4pPr>
            <a:lvl5pPr lvl="4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5pPr>
            <a:lvl6pPr lvl="5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6pPr>
            <a:lvl7pPr lvl="6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7pPr>
            <a:lvl8pPr lvl="7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8pPr>
            <a:lvl9pPr lvl="8" algn="ctr">
              <a:spcBef>
                <a:spcPct val="0"/>
              </a:spcBef>
              <a:spcAft>
                <a:spcPct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1pPr>
            <a:lvl2pPr lvl="1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2pPr>
            <a:lvl3pPr lvl="2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3pPr>
            <a:lvl4pPr lvl="3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4pPr>
            <a:lvl5pPr lvl="4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5pPr>
            <a:lvl6pPr lvl="5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6pPr>
            <a:lvl7pPr lvl="6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7pPr>
            <a:lvl8pPr lvl="7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8pPr>
            <a:lvl9pPr lvl="8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ct val="0"/>
              </a:spcBef>
              <a:spcAft>
                <a:spcPct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ct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ct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ct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ct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1pPr>
            <a:lvl2pPr lvl="1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2pPr>
            <a:lvl3pPr lvl="2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3pPr>
            <a:lvl4pPr lvl="3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4pPr>
            <a:lvl5pPr lvl="4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5pPr>
            <a:lvl6pPr lvl="5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6pPr>
            <a:lvl7pPr lvl="6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7pPr>
            <a:lvl8pPr lvl="7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8pPr>
            <a:lvl9pPr lvl="8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ct val="0"/>
              </a:spcBef>
              <a:spcAft>
                <a:spcPct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ct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ct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ct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ct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ct val="0"/>
              </a:spcBef>
              <a:spcAft>
                <a:spcPct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ct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ct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ct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ct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1pPr>
            <a:lvl2pPr lvl="1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2pPr>
            <a:lvl3pPr lvl="2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3pPr>
            <a:lvl4pPr lvl="3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4pPr>
            <a:lvl5pPr lvl="4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5pPr>
            <a:lvl6pPr lvl="5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6pPr>
            <a:lvl7pPr lvl="6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7pPr>
            <a:lvl8pPr lvl="7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8pPr>
            <a:lvl9pPr lvl="8">
              <a:spcBef>
                <a:spcPct val="0"/>
              </a:spcBef>
              <a:spcAft>
                <a:spcPct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1pPr>
            <a:lvl2pPr lvl="1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2pPr>
            <a:lvl3pPr lvl="2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3pPr>
            <a:lvl4pPr lvl="3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4pPr>
            <a:lvl5pPr lvl="4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5pPr>
            <a:lvl6pPr lvl="5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6pPr>
            <a:lvl7pPr lvl="6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7pPr>
            <a:lvl8pPr lvl="7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8pPr>
            <a:lvl9pPr lvl="8">
              <a:spcBef>
                <a:spcPct val="0"/>
              </a:spcBef>
              <a:spcAft>
                <a:spcPct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ct val="0"/>
              </a:spcBef>
              <a:spcAft>
                <a:spcPct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ct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ct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ct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ct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ct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1pPr>
            <a:lvl2pPr lvl="1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2pPr>
            <a:lvl3pPr lvl="2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3pPr>
            <a:lvl4pPr lvl="3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4pPr>
            <a:lvl5pPr lvl="4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5pPr>
            <a:lvl6pPr lvl="5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6pPr>
            <a:lvl7pPr lvl="6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7pPr>
            <a:lvl8pPr lvl="7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8pPr>
            <a:lvl9pPr lvl="8">
              <a:spcBef>
                <a:spcPct val="0"/>
              </a:spcBef>
              <a:spcAft>
                <a:spcPct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ct val="0"/>
              </a:spcBef>
              <a:spcAft>
                <a:spcPct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1pPr>
            <a:lvl2pPr lvl="1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2pPr>
            <a:lvl3pPr lvl="2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3pPr>
            <a:lvl4pPr lvl="3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4pPr>
            <a:lvl5pPr lvl="4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5pPr>
            <a:lvl6pPr lvl="5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6pPr>
            <a:lvl7pPr lvl="6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7pPr>
            <a:lvl8pPr lvl="7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8pPr>
            <a:lvl9pPr lvl="8" algn="ctr">
              <a:spcBef>
                <a:spcPct val="0"/>
              </a:spcBef>
              <a:spcAft>
                <a:spcPct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ct val="0"/>
              </a:spcBef>
              <a:spcAft>
                <a:spcPct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ct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ct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ct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ct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1pPr>
            <a:lvl2pPr lvl="1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2pPr>
            <a:lvl3pPr lvl="2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3pPr>
            <a:lvl4pPr lvl="3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4pPr>
            <a:lvl5pPr lvl="4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5pPr>
            <a:lvl6pPr lvl="5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6pPr>
            <a:lvl7pPr lvl="6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7pPr>
            <a:lvl8pPr lvl="7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8pPr>
            <a:lvl9pPr lvl="8" algn="ctr">
              <a:spcBef>
                <a:spcPct val="0"/>
              </a:spcBef>
              <a:spcAft>
                <a:spcPct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ct val="0"/>
              </a:spcBef>
              <a:spcAft>
                <a:spcPct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ct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ct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ct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ct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ct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22EBB64-516A-46DC-B32F-628C97B60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43539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0" imgH="0" progId="TCLayout.ActiveDocument.1">
                  <p:embed/>
                </p:oleObj>
              </mc:Choice>
              <mc:Fallback>
                <p:oleObj name="think-cell Folie" r:id="rId13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ct val="0"/>
              </a:spcBef>
              <a:spcAft>
                <a:spcPct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ct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fld id="{00000000-1234-1234-1234-123412341234}" type="slidenum">
              <a:rPr lang="de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ransition/>
  <p:txStyles>
    <p:title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s://www.frachtraum.ch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0BAB356-E80B-464B-ABFD-1E89C22045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0BAB356-E80B-464B-ABFD-1E89C2204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D77EC82-0E39-41B0-9D81-739DEE0007B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5" name="Google Shape;55;p13"/>
          <p:cNvSpPr txBox="1"/>
          <p:nvPr/>
        </p:nvSpPr>
        <p:spPr>
          <a:xfrm>
            <a:off x="2145282" y="133762"/>
            <a:ext cx="6998717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1" dirty="0">
                <a:solidFill>
                  <a:srgbClr val="FFFFFF"/>
                </a:solidFill>
                <a:latin typeface="+mj-lt"/>
              </a:rPr>
              <a:t>Programm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600" b="1" dirty="0">
                <a:solidFill>
                  <a:srgbClr val="FFFFFF"/>
                </a:solidFill>
                <a:latin typeface="+mj-lt"/>
              </a:rPr>
              <a:t>Freitag, 8. November 2024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sz="2000" b="1" dirty="0">
              <a:solidFill>
                <a:srgbClr val="FFFFFF"/>
              </a:solidFill>
              <a:latin typeface="+mj-lt"/>
            </a:endParaRP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</a:rPr>
              <a:t>Frachtraum Thun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 err="1">
                <a:solidFill>
                  <a:schemeClr val="bg1"/>
                </a:solidFill>
                <a:latin typeface="+mj-lt"/>
              </a:rPr>
              <a:t>Seestrasse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14, 3600 Thun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rachtraum.ch</a:t>
            </a:r>
            <a:r>
              <a:rPr lang="de-DE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1600" dirty="0">
                <a:solidFill>
                  <a:schemeClr val="bg1"/>
                </a:solidFill>
                <a:latin typeface="+mj-lt"/>
              </a:rPr>
              <a:t>(beschränkt Parkplätze in der Umgebung vorhanden)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de-DE" sz="1600" b="1" dirty="0">
              <a:solidFill>
                <a:schemeClr val="bg1"/>
              </a:solidFill>
              <a:latin typeface="+mj-lt"/>
            </a:endParaRP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de-DE" sz="800" b="1" dirty="0">
              <a:solidFill>
                <a:schemeClr val="bg1"/>
              </a:solidFill>
              <a:latin typeface="+mj-lt"/>
            </a:endParaRP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</a:rPr>
              <a:t>		ab 18.30		Eintreffen und Apéro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</a:rPr>
              <a:t>		19.30		Gespräche mit Spieler Wacker Thun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</a:rPr>
              <a:t>		20.00 		Food &amp; Drinks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</a:rPr>
              <a:t>		21.30		Talk &amp; Drinks</a:t>
            </a: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de-DE" sz="1600" b="1" dirty="0">
                <a:solidFill>
                  <a:schemeClr val="bg1"/>
                </a:solidFill>
                <a:latin typeface="+mj-lt"/>
              </a:rPr>
              <a:t>	</a:t>
            </a:r>
          </a:p>
        </p:txBody>
      </p:sp>
      <p:pic>
        <p:nvPicPr>
          <p:cNvPr id="7" name="Picture 2" descr="Bild">
            <a:extLst>
              <a:ext uri="{FF2B5EF4-FFF2-40B4-BE49-F238E27FC236}">
                <a16:creationId xmlns:a16="http://schemas.microsoft.com/office/drawing/2014/main" id="{4283B23E-E03F-C649-9A56-3F68FD3D8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79" y="269700"/>
            <a:ext cx="1462390" cy="208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2BF66A7-2815-E82C-3695-1BDA0F33F4A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33000"/>
          </a:blip>
          <a:srcRect l="3987" r="6579"/>
          <a:stretch/>
        </p:blipFill>
        <p:spPr>
          <a:xfrm>
            <a:off x="293078" y="2665228"/>
            <a:ext cx="3235569" cy="220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35604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10.0.17763.0"/>
  <p:tag name="AS_RELEASE_DATE" val="2018.12.12"/>
  <p:tag name="AS_TITLE" val="Aspose.Slides for .NET 4.0"/>
  <p:tag name="AS_VERSION" val="18.1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Benutzerdefiniert 2">
      <a:majorFont>
        <a:latin typeface="Frutiger 45 Light"/>
        <a:ea typeface="Arial"/>
        <a:cs typeface="Arial"/>
      </a:majorFont>
      <a:minorFont>
        <a:latin typeface="Frutiger 45 Light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 override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</Words>
  <Application>Microsoft Macintosh PowerPoint</Application>
  <PresentationFormat>Bildschirmpräsentation (16:9)</PresentationFormat>
  <Paragraphs>1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Frutiger 45 Light</vt:lpstr>
      <vt:lpstr>Simple Light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ugger Markus-GMAA</dc:creator>
  <cp:lastModifiedBy>Markus Gugger</cp:lastModifiedBy>
  <cp:revision>129</cp:revision>
  <dcterms:modified xsi:type="dcterms:W3CDTF">2024-10-29T18:4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INKTEK-CHUNK-1">
    <vt:lpwstr>010021{"F":2,"I":"011B-AD58-79B8-3806"}</vt:lpwstr>
  </property>
</Properties>
</file>